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32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253" r:id="rId12"/>
    <p:sldId id="2147470296" r:id="rId13"/>
    <p:sldId id="2147470301" r:id="rId14"/>
    <p:sldId id="2147470302" r:id="rId15"/>
    <p:sldId id="2147470303" r:id="rId16"/>
    <p:sldId id="2147470304" r:id="rId17"/>
    <p:sldId id="2147470305" r:id="rId18"/>
    <p:sldId id="2147470306" r:id="rId19"/>
    <p:sldId id="2147470282" r:id="rId20"/>
    <p:sldId id="2147470299" r:id="rId21"/>
    <p:sldId id="2147470300" r:id="rId22"/>
    <p:sldId id="2147470233" r:id="rId23"/>
    <p:sldId id="2147470245" r:id="rId24"/>
    <p:sldId id="2147470224" r:id="rId25"/>
    <p:sldId id="2147470254" r:id="rId26"/>
    <p:sldId id="2147470255" r:id="rId27"/>
    <p:sldId id="2147470256" r:id="rId28"/>
    <p:sldId id="2147470257" r:id="rId29"/>
    <p:sldId id="2147470258" r:id="rId30"/>
    <p:sldId id="2147374605" r:id="rId3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253"/>
            <p14:sldId id="2147470296"/>
            <p14:sldId id="2147470301"/>
            <p14:sldId id="2147470302"/>
            <p14:sldId id="2147470303"/>
            <p14:sldId id="2147470304"/>
            <p14:sldId id="2147470305"/>
            <p14:sldId id="2147470306"/>
            <p14:sldId id="2147470282"/>
            <p14:sldId id="2147470299"/>
            <p14:sldId id="2147470300"/>
            <p14:sldId id="2147470233"/>
            <p14:sldId id="2147470245"/>
            <p14:sldId id="2147470224"/>
            <p14:sldId id="2147470254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9C9E4-D1AE-45AC-A839-3E72D235218A}" v="133" dt="2025-06-26T14:47:17.1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83" d="100"/>
          <a:sy n="83" d="100"/>
        </p:scale>
        <p:origin x="88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  <pc:spChg chg="mod">
          <ac:chgData name="Alexandre Zanetti de Almeida" userId="129d4ce6-e715-4d33-b4c4-312f1656225b" providerId="ADAL" clId="{B2D14E4C-771A-44E5-B59A-2A7036F0B9A7}" dt="2025-06-04T17:34:51.333" v="953" actId="14100"/>
          <ac:spMkLst>
            <pc:docMk/>
            <pc:sldMk cId="2698931172" sldId="2147470252"/>
            <ac:spMk id="13" creationId="{8EC64316-0DFC-3460-7FE9-D0A5D9EB23C0}"/>
          </ac:spMkLst>
        </pc:spChg>
        <pc:spChg chg="mod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14" creationId="{059894C3-9087-B195-7067-9BDBB2FF247C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19" creationId="{9CF36A4C-E8A8-8A2D-9DB4-2E04D52DD403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21" creationId="{F96A4FDD-E4B1-C0C9-7986-279E433EAD95}"/>
          </ac:spMkLst>
        </pc:spChg>
        <pc:spChg chg="mod">
          <ac:chgData name="Alexandre Zanetti de Almeida" userId="129d4ce6-e715-4d33-b4c4-312f1656225b" providerId="ADAL" clId="{B2D14E4C-771A-44E5-B59A-2A7036F0B9A7}" dt="2025-06-04T17:34:47.929" v="952" actId="1076"/>
          <ac:spMkLst>
            <pc:docMk/>
            <pc:sldMk cId="2698931172" sldId="2147470252"/>
            <ac:spMk id="33" creationId="{3266D6DC-2F1E-90B2-DF1B-7F1507708C69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34" creationId="{11105882-AC1C-EEC7-8856-694FBFA0E9AD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35" creationId="{F90E17D8-8212-002B-F7DF-25A2F2580151}"/>
          </ac:spMkLst>
        </pc:spChg>
        <pc:spChg chg="mod topLvl">
          <ac:chgData name="Alexandre Zanetti de Almeida" userId="129d4ce6-e715-4d33-b4c4-312f1656225b" providerId="ADAL" clId="{B2D14E4C-771A-44E5-B59A-2A7036F0B9A7}" dt="2025-06-04T17:34:41.077" v="951" actId="165"/>
          <ac:spMkLst>
            <pc:docMk/>
            <pc:sldMk cId="2698931172" sldId="2147470252"/>
            <ac:spMk id="39" creationId="{19FB0C44-6D66-CA11-E3D5-62A2058D4B57}"/>
          </ac:spMkLst>
        </pc:spChg>
        <pc:spChg chg="mod">
          <ac:chgData name="Alexandre Zanetti de Almeida" userId="129d4ce6-e715-4d33-b4c4-312f1656225b" providerId="ADAL" clId="{B2D14E4C-771A-44E5-B59A-2A7036F0B9A7}" dt="2025-06-04T17:34:47.929" v="952" actId="1076"/>
          <ac:spMkLst>
            <pc:docMk/>
            <pc:sldMk cId="2698931172" sldId="2147470252"/>
            <ac:spMk id="41" creationId="{66155092-0C6A-A18F-8692-B5A1AF8D562A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45" creationId="{B7190FE6-C859-1956-30EB-4238985EEC8F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46" creationId="{5F0928B3-C503-7693-2C06-AA40CA77B738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47" creationId="{4BAB0237-1465-F430-9E48-D4BCCAEA1A4F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51" creationId="{3254DDC1-07FC-7C68-BD46-E490AAC345C9}"/>
          </ac:spMkLst>
        </pc:spChg>
        <pc:spChg chg="mod topLvl">
          <ac:chgData name="Alexandre Zanetti de Almeida" userId="129d4ce6-e715-4d33-b4c4-312f1656225b" providerId="ADAL" clId="{B2D14E4C-771A-44E5-B59A-2A7036F0B9A7}" dt="2025-06-04T17:34:56.567" v="954" actId="164"/>
          <ac:spMkLst>
            <pc:docMk/>
            <pc:sldMk cId="2698931172" sldId="2147470252"/>
            <ac:spMk id="54" creationId="{65D261D0-A12B-4118-106E-84A29D969EE4}"/>
          </ac:spMkLst>
        </pc:spChg>
        <pc:grpChg chg="mod">
          <ac:chgData name="Alexandre Zanetti de Almeida" userId="129d4ce6-e715-4d33-b4c4-312f1656225b" providerId="ADAL" clId="{B2D14E4C-771A-44E5-B59A-2A7036F0B9A7}" dt="2025-06-04T17:35:03.746" v="955" actId="1076"/>
          <ac:grpSpMkLst>
            <pc:docMk/>
            <pc:sldMk cId="2698931172" sldId="2147470252"/>
            <ac:grpSpMk id="2" creationId="{75F3E166-B246-7E23-0987-302D506E3AA4}"/>
          </ac:grpSpMkLst>
        </pc:grpChg>
        <pc:cxnChg chg="mod">
          <ac:chgData name="Alexandre Zanetti de Almeida" userId="129d4ce6-e715-4d33-b4c4-312f1656225b" providerId="ADAL" clId="{B2D14E4C-771A-44E5-B59A-2A7036F0B9A7}" dt="2025-06-04T17:34:47.929" v="952" actId="1076"/>
          <ac:cxnSpMkLst>
            <pc:docMk/>
            <pc:sldMk cId="2698931172" sldId="2147470252"/>
            <ac:cxnSpMk id="36" creationId="{D2A2F8F6-F72B-FA1B-D329-A092B673EF64}"/>
          </ac:cxnSpMkLst>
        </pc:cxnChg>
        <pc:cxnChg chg="mod">
          <ac:chgData name="Alexandre Zanetti de Almeida" userId="129d4ce6-e715-4d33-b4c4-312f1656225b" providerId="ADAL" clId="{B2D14E4C-771A-44E5-B59A-2A7036F0B9A7}" dt="2025-06-04T17:34:47.929" v="952" actId="1076"/>
          <ac:cxnSpMkLst>
            <pc:docMk/>
            <pc:sldMk cId="2698931172" sldId="2147470252"/>
            <ac:cxnSpMk id="37" creationId="{96A3C254-0A41-D437-5099-21E3BC622E83}"/>
          </ac:cxnSpMkLst>
        </pc:cxnChg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  <pc:docChgLst>
    <pc:chgData name="Alexandre Zanetti de Almeida" userId="129d4ce6-e715-4d33-b4c4-312f1656225b" providerId="ADAL" clId="{7AD9C9E4-D1AE-45AC-A839-3E72D235218A}"/>
    <pc:docChg chg="undo redo custSel addSld delSld modSld modSection">
      <pc:chgData name="Alexandre Zanetti de Almeida" userId="129d4ce6-e715-4d33-b4c4-312f1656225b" providerId="ADAL" clId="{7AD9C9E4-D1AE-45AC-A839-3E72D235218A}" dt="2025-06-26T14:48:06.079" v="1842" actId="14100"/>
      <pc:docMkLst>
        <pc:docMk/>
      </pc:docMkLst>
      <pc:sldChg chg="modSp mod">
        <pc:chgData name="Alexandre Zanetti de Almeida" userId="129d4ce6-e715-4d33-b4c4-312f1656225b" providerId="ADAL" clId="{7AD9C9E4-D1AE-45AC-A839-3E72D235218A}" dt="2025-06-17T17:07:44.931" v="9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7AD9C9E4-D1AE-45AC-A839-3E72D235218A}" dt="2025-06-17T17:07:44.931" v="9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  <pc:spChg chg="mod">
          <ac:chgData name="Alexandre Zanetti de Almeida" userId="129d4ce6-e715-4d33-b4c4-312f1656225b" providerId="ADAL" clId="{7AD9C9E4-D1AE-45AC-A839-3E72D235218A}" dt="2025-06-25T10:55:24.328" v="515" actId="404"/>
          <ac:spMkLst>
            <pc:docMk/>
            <pc:sldMk cId="568721575" sldId="2147470292"/>
            <ac:spMk id="113" creationId="{D0E43702-06B9-6103-B3DF-10167DB8F3A4}"/>
          </ac:spMkLst>
        </pc:spChg>
        <pc:spChg chg="mod">
          <ac:chgData name="Alexandre Zanetti de Almeida" userId="129d4ce6-e715-4d33-b4c4-312f1656225b" providerId="ADAL" clId="{7AD9C9E4-D1AE-45AC-A839-3E72D235218A}" dt="2025-06-25T10:55:08.082" v="509" actId="20577"/>
          <ac:spMkLst>
            <pc:docMk/>
            <pc:sldMk cId="568721575" sldId="2147470292"/>
            <ac:spMk id="114" creationId="{0846823D-F889-FFAE-ABDE-BE9B0684E040}"/>
          </ac:spMkLst>
        </pc:spChg>
        <pc:spChg chg="mod">
          <ac:chgData name="Alexandre Zanetti de Almeida" userId="129d4ce6-e715-4d33-b4c4-312f1656225b" providerId="ADAL" clId="{7AD9C9E4-D1AE-45AC-A839-3E72D235218A}" dt="2025-06-25T10:55:01.602" v="507" actId="20577"/>
          <ac:spMkLst>
            <pc:docMk/>
            <pc:sldMk cId="568721575" sldId="2147470292"/>
            <ac:spMk id="115" creationId="{B1A7015C-B317-3D89-F49C-5D74C718C777}"/>
          </ac:spMkLst>
        </pc:spChg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  <pc:spChg chg="mod">
          <ac:chgData name="Alexandre Zanetti de Almeida" userId="129d4ce6-e715-4d33-b4c4-312f1656225b" providerId="ADAL" clId="{7AD9C9E4-D1AE-45AC-A839-3E72D235218A}" dt="2025-06-26T14:33:02.592" v="1514"/>
          <ac:spMkLst>
            <pc:docMk/>
            <pc:sldMk cId="3633356812" sldId="2147470295"/>
            <ac:spMk id="68" creationId="{6F979A35-AAA6-9995-DEC1-894234CD9852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6T14:47:28.290" v="1830" actId="14100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6-26T14:47:25.959" v="1829" actId="14100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picChg chg="add del mod">
          <ac:chgData name="Alexandre Zanetti de Almeida" userId="129d4ce6-e715-4d33-b4c4-312f1656225b" providerId="ADAL" clId="{7AD9C9E4-D1AE-45AC-A839-3E72D235218A}" dt="2025-06-26T14:47:17.141" v="1828" actId="478"/>
          <ac:picMkLst>
            <pc:docMk/>
            <pc:sldMk cId="1816411801" sldId="2147470296"/>
            <ac:picMk id="14" creationId="{FE0F1F4A-2B9C-320B-AA05-22514375A12F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7AD9C9E4-D1AE-45AC-A839-3E72D235218A}" dt="2025-06-26T14:47:34.041" v="1832" actId="14100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6-26T14:47:31.839" v="1831" actId="14100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del">
          <ac:chgData name="Alexandre Zanetti de Almeida" userId="129d4ce6-e715-4d33-b4c4-312f1656225b" providerId="ADAL" clId="{7AD9C9E4-D1AE-45AC-A839-3E72D235218A}" dt="2025-06-26T09:35:22.816" v="1198" actId="478"/>
          <ac:picMkLst>
            <pc:docMk/>
            <pc:sldMk cId="1442251791" sldId="2147470301"/>
            <ac:picMk id="7" creationId="{06917838-27A3-037E-079A-63D5E73F9B90}"/>
          </ac:picMkLst>
        </pc:picChg>
        <pc:picChg chg="add del mod">
          <ac:chgData name="Alexandre Zanetti de Almeida" userId="129d4ce6-e715-4d33-b4c4-312f1656225b" providerId="ADAL" clId="{7AD9C9E4-D1AE-45AC-A839-3E72D235218A}" dt="2025-06-26T14:47:08.299" v="1807" actId="478"/>
          <ac:picMkLst>
            <pc:docMk/>
            <pc:sldMk cId="1442251791" sldId="2147470301"/>
            <ac:picMk id="7" creationId="{EA10763C-8F57-0B4E-B9E2-E1E825790892}"/>
          </ac:picMkLst>
        </pc:pic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6-26T14:47:40.504" v="1834" actId="14100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6-26T14:47:38.187" v="1833" actId="14100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del mod">
          <ac:chgData name="Alexandre Zanetti de Almeida" userId="129d4ce6-e715-4d33-b4c4-312f1656225b" providerId="ADAL" clId="{7AD9C9E4-D1AE-45AC-A839-3E72D235218A}" dt="2025-06-26T14:46:58.419" v="1782" actId="478"/>
          <ac:picMkLst>
            <pc:docMk/>
            <pc:sldMk cId="369091421" sldId="2147470302"/>
            <ac:picMk id="7" creationId="{00C6F804-DC78-0F9F-6E48-6733AFDC2008}"/>
          </ac:picMkLst>
        </pc:picChg>
        <pc:picChg chg="del">
          <ac:chgData name="Alexandre Zanetti de Almeida" userId="129d4ce6-e715-4d33-b4c4-312f1656225b" providerId="ADAL" clId="{7AD9C9E4-D1AE-45AC-A839-3E72D235218A}" dt="2025-06-26T09:35:28.876" v="1200" actId="478"/>
          <ac:picMkLst>
            <pc:docMk/>
            <pc:sldMk cId="369091421" sldId="2147470302"/>
            <ac:picMk id="7" creationId="{EA14924C-4BA9-EB82-33E8-BF1C62BB738D}"/>
          </ac:picMkLst>
        </pc:pic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6-26T14:47:46.794" v="1836" actId="14100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add del">
          <ac:chgData name="Alexandre Zanetti de Almeida" userId="129d4ce6-e715-4d33-b4c4-312f1656225b" providerId="ADAL" clId="{7AD9C9E4-D1AE-45AC-A839-3E72D235218A}" dt="2025-06-26T08:49:28.980" v="983" actId="22"/>
          <ac:spMkLst>
            <pc:docMk/>
            <pc:sldMk cId="3080388153" sldId="2147470303"/>
            <ac:spMk id="15" creationId="{45643638-9181-CE88-4EF5-883E7B1807E3}"/>
          </ac:spMkLst>
        </pc:spChg>
        <pc:spChg chg="mod">
          <ac:chgData name="Alexandre Zanetti de Almeida" userId="129d4ce6-e715-4d33-b4c4-312f1656225b" providerId="ADAL" clId="{7AD9C9E4-D1AE-45AC-A839-3E72D235218A}" dt="2025-06-26T14:47:44.289" v="1835" actId="14100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6-26T09:39:24.515" v="1249" actId="108"/>
          <ac:spMkLst>
            <pc:docMk/>
            <pc:sldMk cId="3080388153" sldId="2147470303"/>
            <ac:spMk id="115" creationId="{A4D31653-F4FB-5718-5D6A-AAA87FBFB702}"/>
          </ac:spMkLst>
        </pc:spChg>
        <pc:picChg chg="add del mod">
          <ac:chgData name="Alexandre Zanetti de Almeida" userId="129d4ce6-e715-4d33-b4c4-312f1656225b" providerId="ADAL" clId="{7AD9C9E4-D1AE-45AC-A839-3E72D235218A}" dt="2025-06-26T14:46:47.649" v="1753" actId="478"/>
          <ac:picMkLst>
            <pc:docMk/>
            <pc:sldMk cId="3080388153" sldId="2147470303"/>
            <ac:picMk id="7" creationId="{A0103131-16B2-A4DF-7A56-938953F67A5A}"/>
          </ac:picMkLst>
        </pc:picChg>
        <pc:picChg chg="del">
          <ac:chgData name="Alexandre Zanetti de Almeida" userId="129d4ce6-e715-4d33-b4c4-312f1656225b" providerId="ADAL" clId="{7AD9C9E4-D1AE-45AC-A839-3E72D235218A}" dt="2025-06-26T09:35:01.629" v="1196" actId="478"/>
          <ac:picMkLst>
            <pc:docMk/>
            <pc:sldMk cId="3080388153" sldId="2147470303"/>
            <ac:picMk id="7" creationId="{FFB4FC86-6F22-1F7F-66C7-1EA0CE53D4E3}"/>
          </ac:picMkLst>
        </pc:pic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6-26T14:47:52.654" v="1838" actId="14100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add del">
          <ac:chgData name="Alexandre Zanetti de Almeida" userId="129d4ce6-e715-4d33-b4c4-312f1656225b" providerId="ADAL" clId="{7AD9C9E4-D1AE-45AC-A839-3E72D235218A}" dt="2025-06-26T09:39:07.762" v="1244" actId="22"/>
          <ac:spMkLst>
            <pc:docMk/>
            <pc:sldMk cId="1759209980" sldId="2147470304"/>
            <ac:spMk id="15" creationId="{3D09E935-73C6-A311-1DCB-C96D1E327AD3}"/>
          </ac:spMkLst>
        </pc:spChg>
        <pc:spChg chg="mod">
          <ac:chgData name="Alexandre Zanetti de Almeida" userId="129d4ce6-e715-4d33-b4c4-312f1656225b" providerId="ADAL" clId="{7AD9C9E4-D1AE-45AC-A839-3E72D235218A}" dt="2025-06-26T14:46:16.280" v="1734"/>
          <ac:spMkLst>
            <pc:docMk/>
            <pc:sldMk cId="1759209980" sldId="2147470304"/>
            <ac:spMk id="15" creationId="{F4EDBFE9-EDE2-7B9D-7F3A-EE431C907EE1}"/>
          </ac:spMkLst>
        </pc:spChg>
        <pc:spChg chg="mod">
          <ac:chgData name="Alexandre Zanetti de Almeida" userId="129d4ce6-e715-4d33-b4c4-312f1656225b" providerId="ADAL" clId="{7AD9C9E4-D1AE-45AC-A839-3E72D235218A}" dt="2025-06-26T14:46:28.445" v="1738"/>
          <ac:spMkLst>
            <pc:docMk/>
            <pc:sldMk cId="1759209980" sldId="2147470304"/>
            <ac:spMk id="19" creationId="{F4EDBFE9-EDE2-7B9D-7F3A-EE431C907EE1}"/>
          </ac:spMkLst>
        </pc:spChg>
        <pc:spChg chg="mod">
          <ac:chgData name="Alexandre Zanetti de Almeida" userId="129d4ce6-e715-4d33-b4c4-312f1656225b" providerId="ADAL" clId="{7AD9C9E4-D1AE-45AC-A839-3E72D235218A}" dt="2025-06-26T14:47:50.438" v="1837" actId="14100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grpChg chg="add del mod">
          <ac:chgData name="Alexandre Zanetti de Almeida" userId="129d4ce6-e715-4d33-b4c4-312f1656225b" providerId="ADAL" clId="{7AD9C9E4-D1AE-45AC-A839-3E72D235218A}" dt="2025-06-26T14:46:25.129" v="1736" actId="21"/>
          <ac:grpSpMkLst>
            <pc:docMk/>
            <pc:sldMk cId="1759209980" sldId="2147470304"/>
            <ac:grpSpMk id="14" creationId="{222BFFBF-2CE0-40D3-DC95-EE7353366A8E}"/>
          </ac:grpSpMkLst>
        </pc:grpChg>
        <pc:grpChg chg="add del mod">
          <ac:chgData name="Alexandre Zanetti de Almeida" userId="129d4ce6-e715-4d33-b4c4-312f1656225b" providerId="ADAL" clId="{7AD9C9E4-D1AE-45AC-A839-3E72D235218A}" dt="2025-06-26T14:46:40.089" v="1746" actId="478"/>
          <ac:grpSpMkLst>
            <pc:docMk/>
            <pc:sldMk cId="1759209980" sldId="2147470304"/>
            <ac:grpSpMk id="18" creationId="{222BFFBF-2CE0-40D3-DC95-EE7353366A8E}"/>
          </ac:grpSpMkLst>
        </pc:gr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  <pc:picChg chg="del">
          <ac:chgData name="Alexandre Zanetti de Almeida" userId="129d4ce6-e715-4d33-b4c4-312f1656225b" providerId="ADAL" clId="{7AD9C9E4-D1AE-45AC-A839-3E72D235218A}" dt="2025-06-26T09:36:04.717" v="1209" actId="478"/>
          <ac:picMkLst>
            <pc:docMk/>
            <pc:sldMk cId="1759209980" sldId="2147470304"/>
            <ac:picMk id="17" creationId="{D99C8D03-507C-B0FE-994E-422B79F6CFB8}"/>
          </ac:picMkLst>
        </pc:picChg>
        <pc:picChg chg="mod">
          <ac:chgData name="Alexandre Zanetti de Almeida" userId="129d4ce6-e715-4d33-b4c4-312f1656225b" providerId="ADAL" clId="{7AD9C9E4-D1AE-45AC-A839-3E72D235218A}" dt="2025-06-26T14:46:16.280" v="1734"/>
          <ac:picMkLst>
            <pc:docMk/>
            <pc:sldMk cId="1759209980" sldId="2147470304"/>
            <ac:picMk id="17" creationId="{DEECD566-509F-DC19-3565-2E4C1534C260}"/>
          </ac:picMkLst>
        </pc:picChg>
        <pc:picChg chg="mod">
          <ac:chgData name="Alexandre Zanetti de Almeida" userId="129d4ce6-e715-4d33-b4c4-312f1656225b" providerId="ADAL" clId="{7AD9C9E4-D1AE-45AC-A839-3E72D235218A}" dt="2025-06-26T14:46:28.445" v="1738"/>
          <ac:picMkLst>
            <pc:docMk/>
            <pc:sldMk cId="1759209980" sldId="2147470304"/>
            <ac:picMk id="20" creationId="{DEECD566-509F-DC19-3565-2E4C1534C26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6-26T14:47:58.759" v="1840" actId="14100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6-26T14:47:56.429" v="1839" actId="14100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del">
          <ac:chgData name="Alexandre Zanetti de Almeida" userId="129d4ce6-e715-4d33-b4c4-312f1656225b" providerId="ADAL" clId="{7AD9C9E4-D1AE-45AC-A839-3E72D235218A}" dt="2025-06-26T14:45:38.967" v="1708" actId="478"/>
          <ac:picMkLst>
            <pc:docMk/>
            <pc:sldMk cId="1459291813" sldId="2147470305"/>
            <ac:picMk id="7" creationId="{72347D37-66B6-B7CA-FD60-12CCC773C1FD}"/>
          </ac:picMkLst>
        </pc:pic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6-26T14:48:06.079" v="1842" actId="14100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6-26T14:48:04.009" v="1841" actId="14100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del">
          <ac:chgData name="Alexandre Zanetti de Almeida" userId="129d4ce6-e715-4d33-b4c4-312f1656225b" providerId="ADAL" clId="{7AD9C9E4-D1AE-45AC-A839-3E72D235218A}" dt="2025-06-26T14:45:45.121" v="1710" actId="478"/>
          <ac:picMkLst>
            <pc:docMk/>
            <pc:sldMk cId="316286447" sldId="2147470306"/>
            <ac:picMk id="7" creationId="{BE4C813B-AB32-188C-7637-448017929A50}"/>
          </ac:picMkLst>
        </pc:pic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23DAED39-1F66-4F0B-AC83-5EC3D850C707}" dt="2025-05-13T11:22:37.800" v="14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26/06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40086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06615311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29356" TargetMode="External"/><Relationship Id="rId20" Type="http://schemas.openxmlformats.org/officeDocument/2006/relationships/hyperlink" Target="https://reports.rchland.ibm.com/cgi-bin/sf?TS003882859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3106092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4377613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4.png"/><Relationship Id="rId3" Type="http://schemas.openxmlformats.org/officeDocument/2006/relationships/image" Target="../media/image26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3.png"/><Relationship Id="rId2" Type="http://schemas.openxmlformats.org/officeDocument/2006/relationships/image" Target="../media/image25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2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0.png"/><Relationship Id="rId27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mq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4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101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2 17 Junho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2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2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2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2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2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/>
            <a:endParaRPr lang="en-US" sz="12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4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017398"/>
              </p:ext>
            </p:extLst>
          </p:nvPr>
        </p:nvGraphicFramePr>
        <p:xfrm>
          <a:off x="274150" y="3046988"/>
          <a:ext cx="11578320" cy="26289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A5305262-F455-6B4D-BC41-D69D981844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8733B73-67B6-F1DA-A012-85951FD74FC5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5F3E166-B246-7E23-0987-302D506E3AA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C64316-0DFC-3460-7FE9-D0A5D9EB23C0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59894C3-9087-B195-7067-9BDBB2FF247C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AB31F12-AB7D-9D89-BC5A-2F2D282DC8AF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3982641-7781-61BD-4547-1902A331C81E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3F27DA-1A8E-D5F7-6CF6-74390920A830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F36A4C-E8A8-8A2D-9DB4-2E04D52DD403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7CEA75A-D0F6-BE43-19D6-134FB8FA151F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6A4FDD-E4B1-C0C9-7986-279E433EAD95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0613F3D9-B917-114A-298F-F1B599AA6F9A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F89E2498-18E5-37B1-410B-7BDBED16DAFC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5434BAED-E63D-93BE-8470-AEEEBCEA0679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6ADD5B9E-7813-0C4F-4681-F79864BE7E79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34E42C9-4074-409E-5116-D3E162E6F3FF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DCB4E5D6-5A52-7F5F-0A9A-E760D77FE75A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266D6DC-2F1E-90B2-DF1B-7F1507708C69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1105882-AC1C-EEC7-8856-694FBFA0E9AD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90E17D8-8212-002B-F7DF-25A2F2580151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D2A2F8F6-F72B-FA1B-D329-A092B673EF64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96A3C254-0A41-D437-5099-21E3BC622E83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51CECD9-E74C-8D88-55BD-F4A5F6D62C47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9FB0C44-6D66-CA11-E3D5-62A2058D4B57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6155092-0C6A-A18F-8692-B5A1AF8D562A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A776223-19D3-D248-1965-845BB1956391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FF50799-F64B-E2B7-79B2-4897AFC209DE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3C614F1C-2657-F01C-1103-F65EE2B3304F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7190FE6-C859-1956-30EB-4238985EEC8F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F0928B3-C503-7693-2C06-AA40CA77B738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BAB0237-1465-F430-9E48-D4BCCAEA1A4F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15AE81F-D532-5417-FF45-0DEE5417E10B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C2914F3-9EEC-1238-4B2F-BBC383F94950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19FCF98A-0216-CA70-E142-7B8741CBB18C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254DDC1-07FC-7C68-BD46-E490AAC345C9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504D152-FBDC-36D7-5955-05EFF4CB80B2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BC4B7D5-8824-4AF9-7507-59A16AFE3C1C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5D261D0-A12B-4118-106E-84A29D969EE4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5D41A8CC-1FAD-0589-419D-911B916BC475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0BF423B-B8FD-9535-82AD-1905C0E3C1B7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8EF2FD7-2751-493F-B90E-116ACB459B9E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2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2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2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`: 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14</TotalTime>
  <Words>3563</Words>
  <Application>Microsoft Office PowerPoint</Application>
  <PresentationFormat>Widescreen</PresentationFormat>
  <Paragraphs>1608</Paragraphs>
  <Slides>2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8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6-26T14:48:09Z</dcterms:modified>
</cp:coreProperties>
</file>